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D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805C28-DAD8-4F98-8B21-FC765CC0A080}" v="20" dt="2025-08-05T09:01:23.2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114" y="11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95805C28-DAD8-4F98-8B21-FC765CC0A080}"/>
    <pc:docChg chg="custSel modSld modMainMaster">
      <pc:chgData name="Vikesh Chugani" userId="9c759398cfaae00f" providerId="LiveId" clId="{95805C28-DAD8-4F98-8B21-FC765CC0A080}" dt="2025-08-05T09:01:46.243" v="109" actId="108"/>
      <pc:docMkLst>
        <pc:docMk/>
      </pc:docMkLst>
      <pc:sldChg chg="addSp modSp mod">
        <pc:chgData name="Vikesh Chugani" userId="9c759398cfaae00f" providerId="LiveId" clId="{95805C28-DAD8-4F98-8B21-FC765CC0A080}" dt="2025-08-05T09:01:46.243" v="109" actId="108"/>
        <pc:sldMkLst>
          <pc:docMk/>
          <pc:sldMk cId="1681693403" sldId="256"/>
        </pc:sldMkLst>
        <pc:spChg chg="add mod">
          <ac:chgData name="Vikesh Chugani" userId="9c759398cfaae00f" providerId="LiveId" clId="{95805C28-DAD8-4F98-8B21-FC765CC0A080}" dt="2025-08-05T09:01:26.233" v="107"/>
          <ac:spMkLst>
            <pc:docMk/>
            <pc:sldMk cId="1681693403" sldId="256"/>
            <ac:spMk id="2" creationId="{F52C70C5-4E85-D64B-F086-585D6B8DFD53}"/>
          </ac:spMkLst>
        </pc:spChg>
        <pc:spChg chg="mod">
          <ac:chgData name="Vikesh Chugani" userId="9c759398cfaae00f" providerId="LiveId" clId="{95805C28-DAD8-4F98-8B21-FC765CC0A080}" dt="2025-08-05T09:01:22.592" v="27" actId="947"/>
          <ac:spMkLst>
            <pc:docMk/>
            <pc:sldMk cId="1681693403" sldId="256"/>
            <ac:spMk id="5" creationId="{A8B3F1D7-E4CF-428A-950F-794DCE53F2F8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6" creationId="{F1FB0AB9-E65A-43D2-BE7B-5181A799B663}"/>
          </ac:spMkLst>
        </pc:spChg>
        <pc:spChg chg="mod">
          <ac:chgData name="Vikesh Chugani" userId="9c759398cfaae00f" providerId="LiveId" clId="{95805C28-DAD8-4F98-8B21-FC765CC0A080}" dt="2025-08-05T09:01:22.610" v="35" actId="947"/>
          <ac:spMkLst>
            <pc:docMk/>
            <pc:sldMk cId="1681693403" sldId="256"/>
            <ac:spMk id="7" creationId="{39FED585-869B-4D13-AB30-73D21E76E7B1}"/>
          </ac:spMkLst>
        </pc:spChg>
        <pc:spChg chg="mod">
          <ac:chgData name="Vikesh Chugani" userId="9c759398cfaae00f" providerId="LiveId" clId="{95805C28-DAD8-4F98-8B21-FC765CC0A080}" dt="2025-08-05T09:01:22.613" v="37" actId="947"/>
          <ac:spMkLst>
            <pc:docMk/>
            <pc:sldMk cId="1681693403" sldId="256"/>
            <ac:spMk id="8" creationId="{73058DDF-437A-4293-9C9D-0057C659C907}"/>
          </ac:spMkLst>
        </pc:spChg>
        <pc:spChg chg="mod">
          <ac:chgData name="Vikesh Chugani" userId="9c759398cfaae00f" providerId="LiveId" clId="{95805C28-DAD8-4F98-8B21-FC765CC0A080}" dt="2025-08-05T09:01:22.582" v="21" actId="947"/>
          <ac:spMkLst>
            <pc:docMk/>
            <pc:sldMk cId="1681693403" sldId="256"/>
            <ac:spMk id="9" creationId="{08F348A2-9C84-4CB3-9E0B-A1001C846A97}"/>
          </ac:spMkLst>
        </pc:spChg>
        <pc:spChg chg="mod">
          <ac:chgData name="Vikesh Chugani" userId="9c759398cfaae00f" providerId="LiveId" clId="{95805C28-DAD8-4F98-8B21-FC765CC0A080}" dt="2025-08-05T09:01:22.585" v="23" actId="947"/>
          <ac:spMkLst>
            <pc:docMk/>
            <pc:sldMk cId="1681693403" sldId="256"/>
            <ac:spMk id="10" creationId="{4694582C-2D76-4944-9606-1A7C06300B0D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11" creationId="{8410CD18-7885-45E8-B35F-B1D3C6ED3A1A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12" creationId="{17481B46-4326-4B15-9E6C-87C8B71374ED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13" creationId="{474AE087-5442-42C1-BD78-AE32DD21A6CC}"/>
          </ac:spMkLst>
        </pc:spChg>
        <pc:spChg chg="mod">
          <ac:chgData name="Vikesh Chugani" userId="9c759398cfaae00f" providerId="LiveId" clId="{95805C28-DAD8-4F98-8B21-FC765CC0A080}" dt="2025-08-05T09:01:22.576" v="17" actId="947"/>
          <ac:spMkLst>
            <pc:docMk/>
            <pc:sldMk cId="1681693403" sldId="256"/>
            <ac:spMk id="14" creationId="{A08B8C3B-515A-4CD5-8701-81C7556D0F70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15" creationId="{EF41EFB8-FAE1-477D-A143-1966656542EA}"/>
          </ac:spMkLst>
        </pc:spChg>
        <pc:spChg chg="mod">
          <ac:chgData name="Vikesh Chugani" userId="9c759398cfaae00f" providerId="LiveId" clId="{95805C28-DAD8-4F98-8B21-FC765CC0A080}" dt="2025-08-05T09:01:22.595" v="29" actId="947"/>
          <ac:spMkLst>
            <pc:docMk/>
            <pc:sldMk cId="1681693403" sldId="256"/>
            <ac:spMk id="16" creationId="{CCE037C4-D878-499E-9279-F63E6B57E398}"/>
          </ac:spMkLst>
        </pc:spChg>
        <pc:spChg chg="mod">
          <ac:chgData name="Vikesh Chugani" userId="9c759398cfaae00f" providerId="LiveId" clId="{95805C28-DAD8-4F98-8B21-FC765CC0A080}" dt="2025-08-05T09:01:22.579" v="19" actId="947"/>
          <ac:spMkLst>
            <pc:docMk/>
            <pc:sldMk cId="1681693403" sldId="256"/>
            <ac:spMk id="17" creationId="{1F8FD5A9-6F50-47E4-9A03-0F699AF16D57}"/>
          </ac:spMkLst>
        </pc:spChg>
        <pc:spChg chg="mod">
          <ac:chgData name="Vikesh Chugani" userId="9c759398cfaae00f" providerId="LiveId" clId="{95805C28-DAD8-4F98-8B21-FC765CC0A080}" dt="2025-08-05T09:01:22.551" v="3" actId="947"/>
          <ac:spMkLst>
            <pc:docMk/>
            <pc:sldMk cId="1681693403" sldId="256"/>
            <ac:spMk id="18" creationId="{242E2C2E-AA45-4216-A90A-1400C9E8E9A9}"/>
          </ac:spMkLst>
        </pc:spChg>
        <pc:spChg chg="mod">
          <ac:chgData name="Vikesh Chugani" userId="9c759398cfaae00f" providerId="LiveId" clId="{95805C28-DAD8-4F98-8B21-FC765CC0A080}" dt="2025-08-05T09:01:22.555" v="5" actId="947"/>
          <ac:spMkLst>
            <pc:docMk/>
            <pc:sldMk cId="1681693403" sldId="256"/>
            <ac:spMk id="19" creationId="{3A405962-4D6C-4B78-9B01-2FFD612F7E90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20" creationId="{FF9BA03E-0A05-4E37-847B-EA4439127C47}"/>
          </ac:spMkLst>
        </pc:spChg>
        <pc:spChg chg="mod">
          <ac:chgData name="Vikesh Chugani" userId="9c759398cfaae00f" providerId="LiveId" clId="{95805C28-DAD8-4F98-8B21-FC765CC0A080}" dt="2025-08-05T09:01:22.634" v="45" actId="947"/>
          <ac:spMkLst>
            <pc:docMk/>
            <pc:sldMk cId="1681693403" sldId="256"/>
            <ac:spMk id="22" creationId="{25DE296A-01FF-4FE3-B3AD-30E83A5D2B7C}"/>
          </ac:spMkLst>
        </pc:spChg>
        <pc:spChg chg="mod">
          <ac:chgData name="Vikesh Chugani" userId="9c759398cfaae00f" providerId="LiveId" clId="{95805C28-DAD8-4F98-8B21-FC765CC0A080}" dt="2025-08-05T09:01:22.590" v="25" actId="947"/>
          <ac:spMkLst>
            <pc:docMk/>
            <pc:sldMk cId="1681693403" sldId="256"/>
            <ac:spMk id="23" creationId="{0E51355E-38B9-432A-B009-A144E0CD0782}"/>
          </ac:spMkLst>
        </pc:spChg>
        <pc:spChg chg="mod">
          <ac:chgData name="Vikesh Chugani" userId="9c759398cfaae00f" providerId="LiveId" clId="{95805C28-DAD8-4F98-8B21-FC765CC0A080}" dt="2025-08-05T09:01:22.630" v="43" actId="947"/>
          <ac:spMkLst>
            <pc:docMk/>
            <pc:sldMk cId="1681693403" sldId="256"/>
            <ac:spMk id="24" creationId="{FE59AD8A-6407-4EA5-8E41-F4B4AEC75FE9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25" creationId="{0F7578B9-4852-4723-A01B-EC001D97E87C}"/>
          </ac:spMkLst>
        </pc:spChg>
        <pc:spChg chg="mod">
          <ac:chgData name="Vikesh Chugani" userId="9c759398cfaae00f" providerId="LiveId" clId="{95805C28-DAD8-4F98-8B21-FC765CC0A080}" dt="2025-08-05T09:01:22.647" v="51" actId="947"/>
          <ac:spMkLst>
            <pc:docMk/>
            <pc:sldMk cId="1681693403" sldId="256"/>
            <ac:spMk id="26" creationId="{1A7698A1-D571-4CDF-B146-F3625DD0C81C}"/>
          </ac:spMkLst>
        </pc:spChg>
        <pc:spChg chg="mod">
          <ac:chgData name="Vikesh Chugani" userId="9c759398cfaae00f" providerId="LiveId" clId="{95805C28-DAD8-4F98-8B21-FC765CC0A080}" dt="2025-08-05T09:01:46.243" v="109" actId="108"/>
          <ac:spMkLst>
            <pc:docMk/>
            <pc:sldMk cId="1681693403" sldId="256"/>
            <ac:spMk id="27" creationId="{D37C58F3-CDE5-4FB2-AA97-4823FDD18E00}"/>
          </ac:spMkLst>
        </pc:spChg>
        <pc:spChg chg="mod">
          <ac:chgData name="Vikesh Chugani" userId="9c759398cfaae00f" providerId="LiveId" clId="{95805C28-DAD8-4F98-8B21-FC765CC0A080}" dt="2025-08-05T09:01:41.780" v="108" actId="108"/>
          <ac:spMkLst>
            <pc:docMk/>
            <pc:sldMk cId="1681693403" sldId="256"/>
            <ac:spMk id="28" creationId="{82958C03-A079-45F5-8CE3-8AD7AE58C76E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29" creationId="{496D5E2A-4B87-4354-8AAE-74C06FA421E3}"/>
          </ac:spMkLst>
        </pc:spChg>
        <pc:spChg chg="mod">
          <ac:chgData name="Vikesh Chugani" userId="9c759398cfaae00f" providerId="LiveId" clId="{95805C28-DAD8-4F98-8B21-FC765CC0A080}" dt="2025-08-05T09:01:22.603" v="31" actId="947"/>
          <ac:spMkLst>
            <pc:docMk/>
            <pc:sldMk cId="1681693403" sldId="256"/>
            <ac:spMk id="30" creationId="{2329CC51-71DD-4364-A3A7-3D0FC953CB20}"/>
          </ac:spMkLst>
        </pc:spChg>
        <pc:spChg chg="mod">
          <ac:chgData name="Vikesh Chugani" userId="9c759398cfaae00f" providerId="LiveId" clId="{95805C28-DAD8-4F98-8B21-FC765CC0A080}" dt="2025-08-05T09:01:22.657" v="56" actId="790"/>
          <ac:spMkLst>
            <pc:docMk/>
            <pc:sldMk cId="1681693403" sldId="256"/>
            <ac:spMk id="31" creationId="{6FD2F1DE-07D2-43A4-8B22-0345F30B4559}"/>
          </ac:spMkLst>
        </pc:spChg>
        <pc:graphicFrameChg chg="add mod ord modVis">
          <ac:chgData name="Vikesh Chugani" userId="9c759398cfaae00f" providerId="LiveId" clId="{95805C28-DAD8-4F98-8B21-FC765CC0A080}" dt="2025-08-05T09:01:23.248" v="90"/>
          <ac:graphicFrameMkLst>
            <pc:docMk/>
            <pc:sldMk cId="1681693403" sldId="256"/>
            <ac:graphicFrameMk id="3" creationId="{0C8D4350-AEB3-B9FC-0569-7F511A7B0A22}"/>
          </ac:graphicFrameMkLst>
        </pc:graphicFrameChg>
      </pc:sldChg>
      <pc:sldMasterChg chg="addSp delSp modSp mod">
        <pc:chgData name="Vikesh Chugani" userId="9c759398cfaae00f" providerId="LiveId" clId="{95805C28-DAD8-4F98-8B21-FC765CC0A080}" dt="2025-08-05T09:01:23.268" v="106"/>
        <pc:sldMasterMkLst>
          <pc:docMk/>
          <pc:sldMasterMk cId="27788016" sldId="2147483648"/>
        </pc:sldMasterMkLst>
        <pc:spChg chg="mod">
          <ac:chgData name="Vikesh Chugani" userId="9c759398cfaae00f" providerId="LiveId" clId="{95805C28-DAD8-4F98-8B21-FC765CC0A080}" dt="2025-08-05T09:01:23.176" v="57" actId="948"/>
          <ac:spMkLst>
            <pc:docMk/>
            <pc:sldMasterMk cId="27788016" sldId="2147483648"/>
            <ac:spMk id="2" creationId="{5270C366-1152-40C1-A420-8013BD97B2BF}"/>
          </ac:spMkLst>
        </pc:spChg>
        <pc:spChg chg="add del mod modVis">
          <ac:chgData name="Vikesh Chugani" userId="9c759398cfaae00f" providerId="LiveId" clId="{95805C28-DAD8-4F98-8B21-FC765CC0A080}" dt="2025-08-05T09:01:23.251" v="92"/>
          <ac:spMkLst>
            <pc:docMk/>
            <pc:sldMasterMk cId="27788016" sldId="2147483648"/>
            <ac:spMk id="7" creationId="{E2D67D66-5EDF-2123-C94A-BB9B8AF40852}"/>
          </ac:spMkLst>
        </pc:spChg>
        <pc:graphicFrameChg chg="add mod ord modVis">
          <ac:chgData name="Vikesh Chugani" userId="9c759398cfaae00f" providerId="LiveId" clId="{95805C28-DAD8-4F98-8B21-FC765CC0A080}" dt="2025-08-05T09:01:23.268" v="106"/>
          <ac:graphicFrameMkLst>
            <pc:docMk/>
            <pc:sldMasterMk cId="27788016" sldId="2147483648"/>
            <ac:graphicFrameMk id="8" creationId="{77185D71-F614-E423-9D27-8144735CE5AB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AE8FCE-FAF3-4C95-B2EE-E77F7602D7C8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1B4B4-19A0-4294-A81C-C0FB4A586F57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763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69EF64-1DDF-42A1-BAE6-07ED3A1C47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25FF333-8279-44B0-A883-6C901EB413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42CB2B7-99FB-4CEC-BE81-67B28381F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FB9476-324E-4B02-845B-E3ABFB798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CFCF82-3F70-41DF-9D24-CD8AF22FA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83715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A14961-5AE5-4749-B553-8F5D85473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C32C57-CC3B-48E3-8952-EBB7ECF4AE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77F1A7-4A14-41F3-A4F9-D835A715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50F921-9C3E-4F41-BA47-5675EBEC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1371FB-0045-4A1F-8570-EC59DD2B9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7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8B4A5942-AF0F-4CF0-A766-CAFEA69539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BF9C06F-5530-4B8F-9C73-720DEBF42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92696D-8B62-4200-B84D-5DE5FDBE4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3C0A04-EAD3-451D-8DE7-C6934C9D4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B16755-4E76-4E1C-8526-68EF5495E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0309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FF655-3134-4A81-B262-9A96FCB37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45CC7A-A058-4250-BA4F-9F3BEBEC69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20EB75-AA89-49B6-9D9D-C3918742A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132440-5A36-49D1-AEE3-8E9E58AB1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DEBB7B-4DC9-4DDF-9FC9-5CCD998A6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9949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006CBB-3ADD-466A-AEBA-F6E4EEE7B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5367AF-8CD4-4E5A-97F6-6FEE820D06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584FCF-B66B-4A37-9F2D-663F0AA42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A596A00-B666-452C-95FB-99EBE408A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58AC8C-8D41-4534-AC0C-B4EFE7658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7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2CF08D-0AAA-47AA-96AC-74DA14BBD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C80D38-D48D-4D9D-BB64-90B1F206E6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F19BC8A-DCAD-41E5-92CC-B693E9A481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7A2B43F-7AB9-4366-B237-1C3FC56BD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E32C87-40B5-44C5-964D-6745D1FBB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D3095F4-0E59-446B-BCF1-AAE93DD30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7780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29A5F0-D375-4BDC-B3DE-F9A172867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4797E4-EDFC-4699-8F63-5F8CC54BD9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52F84F-A81A-4B07-B5E9-965058C30F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2A10ED4-14CB-4271-999B-E8B29DD112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4E1CACA-7E2F-4D3A-A8BD-6E25563682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82DC224-3B57-441B-B688-953AE7D76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828FA56-78E2-4EF4-9669-240397A9F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70B7BB0-817E-4BA1-92A9-4A711C154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171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2C13D-4594-4975-8F79-380AFBA7DB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7D0AC1-07F6-46AF-B60E-D8D4A6306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BDBAE6-275A-4851-AC0A-1F9B7313C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B0AD1A-1842-47D6-BACE-151FC4F1A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80032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B57B03E-2F9D-4791-9141-7DF6B573BC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AB75C05-C656-4D65-BC28-5F8421DF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394868-71FD-426F-A1FC-8588D1DAF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5870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C1C15F-3520-4F5D-886D-06593BC79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9C9B32-ED09-4332-AD84-20EAA05B39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25A5627-2458-43A0-8561-91326DC360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97A4A25-E34E-4FAF-B512-D6A99721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56F6AB5-0A21-457C-9DF0-3E50C7497A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6CFE753-1F9A-4ABD-89FA-FCFF83F24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9105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A0CFE4-B342-4102-BBD2-40CED0F42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FE56743-B788-4775-AC65-EDA6AB9724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670F7F5-5977-4604-BFB8-FB86B6884A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29797B-580B-45EA-A079-190C0879D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C8162BF-BC77-4C50-97BF-AFEC6B51B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74BF80-AB23-4BA4-A331-E62D14EA4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6480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7185D71-F614-E423-9D27-8144735CE5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0124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54" imgH="454" progId="TCLayout.ActiveDocument.1">
                  <p:embed/>
                </p:oleObj>
              </mc:Choice>
              <mc:Fallback>
                <p:oleObj name="Diapositiva de think-cell" r:id="rId14" imgW="454" imgH="4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85D71-F614-E423-9D27-8144735CE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270C366-1152-40C1-A420-8013BD97B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06412E-40F6-49A7-B7BB-DED310F767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ED3255-6A21-4E1F-B382-FDA2875159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E0F16-8EA8-4F71-84DC-6F6E0FF7B540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7BABF1-EBB5-4B4B-BE3E-2CDF8E21BB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EA9D92-0645-4F6F-9DFA-9AC131630B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224740-6B04-4291-8EB1-531B47EF22A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8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8D4350-AEB3-B9FC-0569-7F511A7B0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01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54" imgH="454" progId="TCLayout.ActiveDocument.1">
                  <p:embed/>
                </p:oleObj>
              </mc:Choice>
              <mc:Fallback>
                <p:oleObj name="Diapositiva de think-cell" r:id="rId3" imgW="454" imgH="45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8D4350-AEB3-B9FC-0569-7F511A7B0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8B3F1D7-E4CF-428A-950F-794DCE53F2F8}"/>
              </a:ext>
            </a:extLst>
          </p:cNvPr>
          <p:cNvSpPr/>
          <p:nvPr/>
        </p:nvSpPr>
        <p:spPr>
          <a:xfrm>
            <a:off x="247549" y="695189"/>
            <a:ext cx="11634652" cy="605395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FB0AB9-E65A-43D2-BE7B-5181A799B663}"/>
              </a:ext>
            </a:extLst>
          </p:cNvPr>
          <p:cNvSpPr/>
          <p:nvPr/>
        </p:nvSpPr>
        <p:spPr>
          <a:xfrm>
            <a:off x="3324649" y="696693"/>
            <a:ext cx="2786320" cy="2203269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9FED585-869B-4D13-AB30-73D21E76E7B1}"/>
              </a:ext>
            </a:extLst>
          </p:cNvPr>
          <p:cNvSpPr/>
          <p:nvPr/>
        </p:nvSpPr>
        <p:spPr>
          <a:xfrm>
            <a:off x="3324648" y="2904067"/>
            <a:ext cx="2786320" cy="22006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3058DDF-437A-4293-9C9D-0057C659C907}"/>
              </a:ext>
            </a:extLst>
          </p:cNvPr>
          <p:cNvSpPr/>
          <p:nvPr/>
        </p:nvSpPr>
        <p:spPr>
          <a:xfrm>
            <a:off x="6104709" y="695189"/>
            <a:ext cx="2786320" cy="2203269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8F348A2-9C84-4CB3-9E0B-A1001C846A97}"/>
              </a:ext>
            </a:extLst>
          </p:cNvPr>
          <p:cNvSpPr/>
          <p:nvPr/>
        </p:nvSpPr>
        <p:spPr>
          <a:xfrm>
            <a:off x="6104708" y="2892329"/>
            <a:ext cx="2786320" cy="22196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694582C-2D76-4944-9606-1A7C06300B0D}"/>
              </a:ext>
            </a:extLst>
          </p:cNvPr>
          <p:cNvSpPr/>
          <p:nvPr/>
        </p:nvSpPr>
        <p:spPr>
          <a:xfrm>
            <a:off x="249503" y="5108902"/>
            <a:ext cx="5860865" cy="1649250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410CD18-7885-45E8-B35F-B1D3C6ED3A1A}"/>
              </a:ext>
            </a:extLst>
          </p:cNvPr>
          <p:cNvSpPr/>
          <p:nvPr/>
        </p:nvSpPr>
        <p:spPr>
          <a:xfrm>
            <a:off x="6101977" y="5115859"/>
            <a:ext cx="5779247" cy="1631783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7481B46-4326-4B15-9E6C-87C8B71374ED}"/>
              </a:ext>
            </a:extLst>
          </p:cNvPr>
          <p:cNvSpPr txBox="1"/>
          <p:nvPr/>
        </p:nvSpPr>
        <p:spPr>
          <a:xfrm>
            <a:off x="217703" y="221724"/>
            <a:ext cx="116607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                    Team Canvas		</a:t>
            </a:r>
            <a:r>
              <a:rPr lang="en-GB" sz="2400" b="1" kern="0" dirty="0">
                <a:solidFill>
                  <a:schemeClr val="accent1"/>
                </a:solidFill>
                <a:latin typeface="Titillium Web"/>
                <a:ea typeface="Titillium Web"/>
                <a:cs typeface="Titillium Web"/>
                <a:sym typeface="Titillium Web"/>
              </a:rPr>
              <a:t> 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	Team name: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74AE087-5442-42C1-BD78-AE32DD21A6CC}"/>
              </a:ext>
            </a:extLst>
          </p:cNvPr>
          <p:cNvSpPr txBox="1"/>
          <p:nvPr/>
        </p:nvSpPr>
        <p:spPr>
          <a:xfrm>
            <a:off x="244506" y="707913"/>
            <a:ext cx="134459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People &amp; Role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08B8C3B-515A-4CD5-8701-81C7556D0F70}"/>
              </a:ext>
            </a:extLst>
          </p:cNvPr>
          <p:cNvSpPr txBox="1"/>
          <p:nvPr/>
        </p:nvSpPr>
        <p:spPr>
          <a:xfrm>
            <a:off x="3329566" y="719888"/>
            <a:ext cx="16285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Common Goal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F41EFB8-FAE1-477D-A143-1966656542EA}"/>
              </a:ext>
            </a:extLst>
          </p:cNvPr>
          <p:cNvSpPr txBox="1"/>
          <p:nvPr/>
        </p:nvSpPr>
        <p:spPr>
          <a:xfrm>
            <a:off x="6118503" y="711010"/>
            <a:ext cx="16285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Value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CE037C4-D878-499E-9279-F63E6B57E398}"/>
              </a:ext>
            </a:extLst>
          </p:cNvPr>
          <p:cNvSpPr txBox="1"/>
          <p:nvPr/>
        </p:nvSpPr>
        <p:spPr>
          <a:xfrm>
            <a:off x="248258" y="5109298"/>
            <a:ext cx="22762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Strenghts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 &amp; Asset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F8FD5A9-6F50-47E4-9A03-0F699AF16D57}"/>
              </a:ext>
            </a:extLst>
          </p:cNvPr>
          <p:cNvSpPr txBox="1"/>
          <p:nvPr/>
        </p:nvSpPr>
        <p:spPr>
          <a:xfrm>
            <a:off x="6096000" y="5110273"/>
            <a:ext cx="22762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Weaknesses &amp; Risk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42E2C2E-AA45-4216-A90A-1400C9E8E9A9}"/>
              </a:ext>
            </a:extLst>
          </p:cNvPr>
          <p:cNvSpPr txBox="1"/>
          <p:nvPr/>
        </p:nvSpPr>
        <p:spPr>
          <a:xfrm>
            <a:off x="3333532" y="2914448"/>
            <a:ext cx="16035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Personal goal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A405962-4D6C-4B78-9B01-2FFD612F7E90}"/>
              </a:ext>
            </a:extLst>
          </p:cNvPr>
          <p:cNvSpPr txBox="1"/>
          <p:nvPr/>
        </p:nvSpPr>
        <p:spPr>
          <a:xfrm>
            <a:off x="7238999" y="2909119"/>
            <a:ext cx="16580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Needs &amp; Expectation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F9BA03E-0A05-4E37-847B-EA4439127C47}"/>
              </a:ext>
            </a:extLst>
          </p:cNvPr>
          <p:cNvSpPr txBox="1"/>
          <p:nvPr/>
        </p:nvSpPr>
        <p:spPr>
          <a:xfrm>
            <a:off x="8902697" y="719888"/>
            <a:ext cx="22762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Rules &amp; A</a:t>
            </a:r>
            <a:r>
              <a:rPr lang="en-GB" sz="1200" b="1" kern="0" dirty="0" err="1">
                <a:solidFill>
                  <a:schemeClr val="accent1"/>
                </a:solidFill>
                <a:latin typeface="Titillium Web"/>
                <a:ea typeface="Titillium Web"/>
                <a:cs typeface="Titillium Web"/>
                <a:sym typeface="Titillium Web"/>
              </a:rPr>
              <a:t>ctivities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9271344-43DA-40FA-9C3F-559879B2738B}"/>
              </a:ext>
            </a:extLst>
          </p:cNvPr>
          <p:cNvCxnSpPr/>
          <p:nvPr/>
        </p:nvCxnSpPr>
        <p:spPr>
          <a:xfrm>
            <a:off x="7463246" y="592187"/>
            <a:ext cx="441524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5DE296A-01FF-4FE3-B3AD-30E83A5D2B7C}"/>
              </a:ext>
            </a:extLst>
          </p:cNvPr>
          <p:cNvSpPr txBox="1"/>
          <p:nvPr/>
        </p:nvSpPr>
        <p:spPr>
          <a:xfrm>
            <a:off x="3329394" y="911148"/>
            <a:ext cx="22797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What does your team what to achieve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What is our key goal that is feasible, measurable 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and time-bound?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E51355E-38B9-432A-B009-A144E0CD0782}"/>
              </a:ext>
            </a:extLst>
          </p:cNvPr>
          <p:cNvSpPr txBox="1"/>
          <p:nvPr/>
        </p:nvSpPr>
        <p:spPr>
          <a:xfrm>
            <a:off x="6103510" y="906448"/>
            <a:ext cx="15456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What do we stand for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What are our guiding principles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What are our common values?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E59AD8A-6407-4EA5-8E41-F4B4AEC75FE9}"/>
              </a:ext>
            </a:extLst>
          </p:cNvPr>
          <p:cNvSpPr txBox="1"/>
          <p:nvPr/>
        </p:nvSpPr>
        <p:spPr>
          <a:xfrm>
            <a:off x="8890369" y="906448"/>
            <a:ext cx="26564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What are the rules we want to introduce after this session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How do we communicate and keep everyone up to date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How do we make </a:t>
            </a:r>
            <a:r>
              <a:rPr lang="en-GB" sz="800" dirty="0" err="1">
                <a:solidFill>
                  <a:schemeClr val="accent1"/>
                </a:solidFill>
              </a:rPr>
              <a:t>decissions</a:t>
            </a:r>
            <a:r>
              <a:rPr lang="en-GB" sz="800" dirty="0">
                <a:solidFill>
                  <a:schemeClr val="accent1"/>
                </a:solidFill>
              </a:rPr>
              <a:t>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How do we execute, and evaluate what we do?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F7578B9-4852-4723-A01B-EC001D97E87C}"/>
              </a:ext>
            </a:extLst>
          </p:cNvPr>
          <p:cNvSpPr txBox="1"/>
          <p:nvPr/>
        </p:nvSpPr>
        <p:spPr>
          <a:xfrm>
            <a:off x="7075503" y="3064413"/>
            <a:ext cx="1755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What each one of us needs to be </a:t>
            </a:r>
            <a:r>
              <a:rPr lang="en-GB" sz="800" dirty="0" err="1">
                <a:solidFill>
                  <a:schemeClr val="accent1"/>
                </a:solidFill>
              </a:rPr>
              <a:t>succesful</a:t>
            </a:r>
            <a:r>
              <a:rPr lang="en-GB" sz="800" dirty="0">
                <a:solidFill>
                  <a:schemeClr val="accent1"/>
                </a:solidFill>
              </a:rPr>
              <a:t>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What are our personal needs towards the team, to be at our best?</a:t>
            </a:r>
          </a:p>
        </p:txBody>
      </p:sp>
      <p:sp>
        <p:nvSpPr>
          <p:cNvPr id="26" name="Herz 25">
            <a:extLst>
              <a:ext uri="{FF2B5EF4-FFF2-40B4-BE49-F238E27FC236}">
                <a16:creationId xmlns:a16="http://schemas.microsoft.com/office/drawing/2014/main" id="{1A7698A1-D571-4CDF-B146-F3625DD0C81C}"/>
              </a:ext>
            </a:extLst>
          </p:cNvPr>
          <p:cNvSpPr/>
          <p:nvPr/>
        </p:nvSpPr>
        <p:spPr>
          <a:xfrm>
            <a:off x="4972048" y="1839974"/>
            <a:ext cx="2271811" cy="2357011"/>
          </a:xfrm>
          <a:prstGeom prst="heart">
            <a:avLst/>
          </a:prstGeom>
          <a:solidFill>
            <a:srgbClr val="E3DB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D37C58F3-CDE5-4FB2-AA97-4823FDD18E00}"/>
              </a:ext>
            </a:extLst>
          </p:cNvPr>
          <p:cNvSpPr txBox="1"/>
          <p:nvPr/>
        </p:nvSpPr>
        <p:spPr>
          <a:xfrm>
            <a:off x="5609185" y="3504490"/>
            <a:ext cx="103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chemeClr val="accent1"/>
                </a:solidFill>
              </a:rPr>
              <a:t>Why are we doing what we are doing  in the first place?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2958C03-A079-45F5-8CE3-8AD7AE58C76E}"/>
              </a:ext>
            </a:extLst>
          </p:cNvPr>
          <p:cNvSpPr txBox="1"/>
          <p:nvPr/>
        </p:nvSpPr>
        <p:spPr>
          <a:xfrm>
            <a:off x="5145241" y="2142424"/>
            <a:ext cx="7672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kern="0" dirty="0">
                <a:solidFill>
                  <a:schemeClr val="accent1"/>
                </a:solidFill>
                <a:latin typeface="Titillium Web"/>
                <a:sym typeface="Titillium Web"/>
              </a:rPr>
              <a:t>Purpos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96D5E2A-4B87-4354-8AAE-74C06FA421E3}"/>
              </a:ext>
            </a:extLst>
          </p:cNvPr>
          <p:cNvSpPr txBox="1"/>
          <p:nvPr/>
        </p:nvSpPr>
        <p:spPr>
          <a:xfrm>
            <a:off x="6095528" y="5293660"/>
            <a:ext cx="29913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How each one of us needs to be </a:t>
            </a:r>
            <a:r>
              <a:rPr lang="en-GB" sz="800" dirty="0" err="1">
                <a:solidFill>
                  <a:schemeClr val="accent1"/>
                </a:solidFill>
              </a:rPr>
              <a:t>succesful</a:t>
            </a:r>
            <a:r>
              <a:rPr lang="en-GB" sz="800" dirty="0">
                <a:solidFill>
                  <a:schemeClr val="accent1"/>
                </a:solidFill>
              </a:rPr>
              <a:t>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What are our personal needs towards the team to be at our best?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2329CC51-71DD-4364-A3A7-3D0FC953CB20}"/>
              </a:ext>
            </a:extLst>
          </p:cNvPr>
          <p:cNvSpPr txBox="1"/>
          <p:nvPr/>
        </p:nvSpPr>
        <p:spPr>
          <a:xfrm>
            <a:off x="251587" y="5293318"/>
            <a:ext cx="4409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What are the skills we have in the team what will help us achieve our goals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What are interpersonal skills that we have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 err="1">
                <a:solidFill>
                  <a:schemeClr val="accent1"/>
                </a:solidFill>
              </a:rPr>
              <a:t>Whar</a:t>
            </a:r>
            <a:r>
              <a:rPr lang="en-GB" sz="800" dirty="0">
                <a:solidFill>
                  <a:schemeClr val="accent1"/>
                </a:solidFill>
              </a:rPr>
              <a:t> are we good as, </a:t>
            </a:r>
            <a:r>
              <a:rPr lang="en-GB" sz="800" dirty="0" err="1">
                <a:solidFill>
                  <a:schemeClr val="accent1"/>
                </a:solidFill>
              </a:rPr>
              <a:t>individulay</a:t>
            </a:r>
            <a:r>
              <a:rPr lang="en-GB" sz="800" dirty="0">
                <a:solidFill>
                  <a:schemeClr val="accent1"/>
                </a:solidFill>
              </a:rPr>
              <a:t> and as a team?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FD2F1DE-07D2-43A4-8B22-0345F30B4559}"/>
              </a:ext>
            </a:extLst>
          </p:cNvPr>
          <p:cNvSpPr txBox="1"/>
          <p:nvPr/>
        </p:nvSpPr>
        <p:spPr>
          <a:xfrm>
            <a:off x="3326142" y="3101369"/>
            <a:ext cx="19915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What are our individual personal goals?</a:t>
            </a:r>
            <a:br>
              <a:rPr lang="en-GB" sz="800" dirty="0">
                <a:solidFill>
                  <a:schemeClr val="accent1"/>
                </a:solidFill>
              </a:rPr>
            </a:br>
            <a:r>
              <a:rPr lang="en-GB" sz="800" dirty="0">
                <a:solidFill>
                  <a:schemeClr val="accent1"/>
                </a:solidFill>
              </a:rPr>
              <a:t>Are there personal agendas that we want to open up?</a:t>
            </a:r>
          </a:p>
        </p:txBody>
      </p: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84F517A8-58F1-4535-85DD-6BD3506C9500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 rot="20795535">
            <a:off x="76629" y="141382"/>
            <a:ext cx="1248857" cy="55967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feld 21">
            <a:extLst>
              <a:ext uri="{FF2B5EF4-FFF2-40B4-BE49-F238E27FC236}">
                <a16:creationId xmlns:a16="http://schemas.microsoft.com/office/drawing/2014/main" id="{F52C70C5-4E85-D64B-F086-585D6B8DFD53}"/>
              </a:ext>
            </a:extLst>
          </p:cNvPr>
          <p:cNvSpPr txBox="1"/>
          <p:nvPr/>
        </p:nvSpPr>
        <p:spPr>
          <a:xfrm>
            <a:off x="309799" y="938423"/>
            <a:ext cx="271901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accent1"/>
                </a:solidFill>
              </a:rPr>
              <a:t>To clarify who is on the team and what their main function is</a:t>
            </a:r>
          </a:p>
        </p:txBody>
      </p:sp>
    </p:spTree>
    <p:extLst>
      <p:ext uri="{BB962C8B-B14F-4D97-AF65-F5344CB8AC3E}">
        <p14:creationId xmlns:p14="http://schemas.microsoft.com/office/powerpoint/2010/main" val="1681693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252</Words>
  <Application>Microsoft Office PowerPoint</Application>
  <PresentationFormat>Panorámica</PresentationFormat>
  <Paragraphs>19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tillium Web</vt:lpstr>
      <vt:lpstr>Office</vt:lpstr>
      <vt:lpstr>Diapositiva de think-cell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wia Sekula-Neuner</dc:creator>
  <cp:lastModifiedBy>Vikesh Chugani</cp:lastModifiedBy>
  <cp:revision>3</cp:revision>
  <dcterms:created xsi:type="dcterms:W3CDTF">2023-07-25T16:35:53Z</dcterms:created>
  <dcterms:modified xsi:type="dcterms:W3CDTF">2025-08-05T09:01:52Z</dcterms:modified>
</cp:coreProperties>
</file>